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76"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918199F-63D7-49FC-807D-6BA08D5C5066}" v="59" dt="2023-03-07T00:00:02.41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114" y="336"/>
      </p:cViewPr>
      <p:guideLst>
        <p:guide orient="horz" pos="648"/>
        <p:guide pos="3576"/>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7918199F-63D7-49FC-807D-6BA08D5C5066}"/>
    <pc:docChg chg="undo custSel addSld delSld modSld">
      <pc:chgData name="Roberto Gallardo" userId="49a044883f185952" providerId="LiveId" clId="{7918199F-63D7-49FC-807D-6BA08D5C5066}" dt="2023-03-07T00:00:13.647" v="277" actId="1076"/>
      <pc:docMkLst>
        <pc:docMk/>
      </pc:docMkLst>
      <pc:sldChg chg="del">
        <pc:chgData name="Roberto Gallardo" userId="49a044883f185952" providerId="LiveId" clId="{7918199F-63D7-49FC-807D-6BA08D5C5066}" dt="2023-02-25T15:00:21.731" v="73" actId="47"/>
        <pc:sldMkLst>
          <pc:docMk/>
          <pc:sldMk cId="1175010214" sldId="261"/>
        </pc:sldMkLst>
      </pc:sldChg>
      <pc:sldChg chg="addSp modSp mod">
        <pc:chgData name="Roberto Gallardo" userId="49a044883f185952" providerId="LiveId" clId="{7918199F-63D7-49FC-807D-6BA08D5C5066}" dt="2023-03-06T23:53:54.831" v="84" actId="1076"/>
        <pc:sldMkLst>
          <pc:docMk/>
          <pc:sldMk cId="1418533539" sldId="271"/>
        </pc:sldMkLst>
        <pc:picChg chg="add mod">
          <ac:chgData name="Roberto Gallardo" userId="49a044883f185952" providerId="LiveId" clId="{7918199F-63D7-49FC-807D-6BA08D5C5066}" dt="2023-03-06T23:53:54.831" v="84" actId="1076"/>
          <ac:picMkLst>
            <pc:docMk/>
            <pc:sldMk cId="1418533539" sldId="271"/>
            <ac:picMk id="6" creationId="{7D193CE0-B085-90B0-5CC2-67ACE33CE1F1}"/>
          </ac:picMkLst>
        </pc:picChg>
      </pc:sldChg>
      <pc:sldChg chg="addSp modSp mod">
        <pc:chgData name="Roberto Gallardo" userId="49a044883f185952" providerId="LiveId" clId="{7918199F-63D7-49FC-807D-6BA08D5C5066}" dt="2023-03-06T23:56:01.533" v="143" actId="1076"/>
        <pc:sldMkLst>
          <pc:docMk/>
          <pc:sldMk cId="2124848710" sldId="281"/>
        </pc:sldMkLst>
        <pc:picChg chg="add mod">
          <ac:chgData name="Roberto Gallardo" userId="49a044883f185952" providerId="LiveId" clId="{7918199F-63D7-49FC-807D-6BA08D5C5066}" dt="2023-03-06T23:56:01.533" v="143" actId="1076"/>
          <ac:picMkLst>
            <pc:docMk/>
            <pc:sldMk cId="2124848710" sldId="281"/>
            <ac:picMk id="6" creationId="{28FD97BD-EAFD-F3B2-6BA1-21858EC9B5C2}"/>
          </ac:picMkLst>
        </pc:picChg>
      </pc:sldChg>
      <pc:sldChg chg="addSp modSp mod">
        <pc:chgData name="Roberto Gallardo" userId="49a044883f185952" providerId="LiveId" clId="{7918199F-63D7-49FC-807D-6BA08D5C5066}" dt="2023-03-06T23:56:22.957" v="152" actId="1076"/>
        <pc:sldMkLst>
          <pc:docMk/>
          <pc:sldMk cId="2028175529" sldId="282"/>
        </pc:sldMkLst>
        <pc:picChg chg="add mod">
          <ac:chgData name="Roberto Gallardo" userId="49a044883f185952" providerId="LiveId" clId="{7918199F-63D7-49FC-807D-6BA08D5C5066}" dt="2023-03-06T23:56:22.957" v="152" actId="1076"/>
          <ac:picMkLst>
            <pc:docMk/>
            <pc:sldMk cId="2028175529" sldId="282"/>
            <ac:picMk id="7" creationId="{D1CB096F-8395-E75A-AD91-3D18E6001990}"/>
          </ac:picMkLst>
        </pc:picChg>
      </pc:sldChg>
      <pc:sldChg chg="addSp modSp mod">
        <pc:chgData name="Roberto Gallardo" userId="49a044883f185952" providerId="LiveId" clId="{7918199F-63D7-49FC-807D-6BA08D5C5066}" dt="2023-03-06T23:56:39.529" v="161" actId="1076"/>
        <pc:sldMkLst>
          <pc:docMk/>
          <pc:sldMk cId="1326517747" sldId="283"/>
        </pc:sldMkLst>
        <pc:picChg chg="add mod">
          <ac:chgData name="Roberto Gallardo" userId="49a044883f185952" providerId="LiveId" clId="{7918199F-63D7-49FC-807D-6BA08D5C5066}" dt="2023-03-06T23:56:39.529" v="161" actId="1076"/>
          <ac:picMkLst>
            <pc:docMk/>
            <pc:sldMk cId="1326517747" sldId="283"/>
            <ac:picMk id="7" creationId="{CF651479-48A2-A941-FC34-42B8FFAF7FBA}"/>
          </ac:picMkLst>
        </pc:picChg>
      </pc:sldChg>
      <pc:sldChg chg="addSp modSp mod">
        <pc:chgData name="Roberto Gallardo" userId="49a044883f185952" providerId="LiveId" clId="{7918199F-63D7-49FC-807D-6BA08D5C5066}" dt="2023-03-06T23:56:57.895" v="172" actId="1076"/>
        <pc:sldMkLst>
          <pc:docMk/>
          <pc:sldMk cId="783739251" sldId="284"/>
        </pc:sldMkLst>
        <pc:picChg chg="add mod">
          <ac:chgData name="Roberto Gallardo" userId="49a044883f185952" providerId="LiveId" clId="{7918199F-63D7-49FC-807D-6BA08D5C5066}" dt="2023-03-06T23:56:57.895" v="172" actId="1076"/>
          <ac:picMkLst>
            <pc:docMk/>
            <pc:sldMk cId="783739251" sldId="284"/>
            <ac:picMk id="7" creationId="{0F95997A-9509-3EBA-93E9-9A9059D5BEB6}"/>
          </ac:picMkLst>
        </pc:picChg>
      </pc:sldChg>
      <pc:sldChg chg="addSp delSp modSp mod">
        <pc:chgData name="Roberto Gallardo" userId="49a044883f185952" providerId="LiveId" clId="{7918199F-63D7-49FC-807D-6BA08D5C5066}" dt="2023-03-06T23:57:33.932" v="188" actId="478"/>
        <pc:sldMkLst>
          <pc:docMk/>
          <pc:sldMk cId="1676122233" sldId="285"/>
        </pc:sldMkLst>
        <pc:picChg chg="add mod">
          <ac:chgData name="Roberto Gallardo" userId="49a044883f185952" providerId="LiveId" clId="{7918199F-63D7-49FC-807D-6BA08D5C5066}" dt="2023-03-06T23:57:13.832" v="182" actId="1076"/>
          <ac:picMkLst>
            <pc:docMk/>
            <pc:sldMk cId="1676122233" sldId="285"/>
            <ac:picMk id="7" creationId="{1236936E-4F04-962E-0970-8D70EEF3E007}"/>
          </ac:picMkLst>
        </pc:picChg>
        <pc:picChg chg="add del mod">
          <ac:chgData name="Roberto Gallardo" userId="49a044883f185952" providerId="LiveId" clId="{7918199F-63D7-49FC-807D-6BA08D5C5066}" dt="2023-03-06T23:57:33.932" v="188" actId="478"/>
          <ac:picMkLst>
            <pc:docMk/>
            <pc:sldMk cId="1676122233" sldId="285"/>
            <ac:picMk id="9" creationId="{3EE74ECE-D6C7-792E-3BE8-939036E60992}"/>
          </ac:picMkLst>
        </pc:picChg>
      </pc:sldChg>
      <pc:sldChg chg="addSp modSp mod">
        <pc:chgData name="Roberto Gallardo" userId="49a044883f185952" providerId="LiveId" clId="{7918199F-63D7-49FC-807D-6BA08D5C5066}" dt="2023-03-06T23:57:53.905" v="196" actId="14100"/>
        <pc:sldMkLst>
          <pc:docMk/>
          <pc:sldMk cId="3100398757" sldId="286"/>
        </pc:sldMkLst>
        <pc:picChg chg="add mod">
          <ac:chgData name="Roberto Gallardo" userId="49a044883f185952" providerId="LiveId" clId="{7918199F-63D7-49FC-807D-6BA08D5C5066}" dt="2023-03-06T23:57:53.905" v="196" actId="14100"/>
          <ac:picMkLst>
            <pc:docMk/>
            <pc:sldMk cId="3100398757" sldId="286"/>
            <ac:picMk id="7" creationId="{60AD77E6-29F6-847F-85BD-39DE1DEB46FA}"/>
          </ac:picMkLst>
        </pc:picChg>
      </pc:sldChg>
      <pc:sldChg chg="addSp modSp mod">
        <pc:chgData name="Roberto Gallardo" userId="49a044883f185952" providerId="LiveId" clId="{7918199F-63D7-49FC-807D-6BA08D5C5066}" dt="2023-03-06T23:58:17.418" v="209" actId="1076"/>
        <pc:sldMkLst>
          <pc:docMk/>
          <pc:sldMk cId="1546475425" sldId="287"/>
        </pc:sldMkLst>
        <pc:picChg chg="add mod">
          <ac:chgData name="Roberto Gallardo" userId="49a044883f185952" providerId="LiveId" clId="{7918199F-63D7-49FC-807D-6BA08D5C5066}" dt="2023-03-06T23:58:17.418" v="209" actId="1076"/>
          <ac:picMkLst>
            <pc:docMk/>
            <pc:sldMk cId="1546475425" sldId="287"/>
            <ac:picMk id="7" creationId="{0B85CA26-731A-E952-D06D-397804CA8280}"/>
          </ac:picMkLst>
        </pc:picChg>
      </pc:sldChg>
      <pc:sldChg chg="addSp modSp mod">
        <pc:chgData name="Roberto Gallardo" userId="49a044883f185952" providerId="LiveId" clId="{7918199F-63D7-49FC-807D-6BA08D5C5066}" dt="2023-03-06T23:58:57.948" v="234" actId="1076"/>
        <pc:sldMkLst>
          <pc:docMk/>
          <pc:sldMk cId="1380517306" sldId="288"/>
        </pc:sldMkLst>
        <pc:picChg chg="add mod">
          <ac:chgData name="Roberto Gallardo" userId="49a044883f185952" providerId="LiveId" clId="{7918199F-63D7-49FC-807D-6BA08D5C5066}" dt="2023-03-06T23:58:57.948" v="234" actId="1076"/>
          <ac:picMkLst>
            <pc:docMk/>
            <pc:sldMk cId="1380517306" sldId="288"/>
            <ac:picMk id="7" creationId="{8FC5CA58-4C4A-94A8-1CA4-479C8A20CDB8}"/>
          </ac:picMkLst>
        </pc:picChg>
      </pc:sldChg>
      <pc:sldChg chg="addSp modSp mod">
        <pc:chgData name="Roberto Gallardo" userId="49a044883f185952" providerId="LiveId" clId="{7918199F-63D7-49FC-807D-6BA08D5C5066}" dt="2023-03-06T23:59:15.331" v="245" actId="1076"/>
        <pc:sldMkLst>
          <pc:docMk/>
          <pc:sldMk cId="1388671151" sldId="289"/>
        </pc:sldMkLst>
        <pc:picChg chg="add mod">
          <ac:chgData name="Roberto Gallardo" userId="49a044883f185952" providerId="LiveId" clId="{7918199F-63D7-49FC-807D-6BA08D5C5066}" dt="2023-03-06T23:59:15.331" v="245" actId="1076"/>
          <ac:picMkLst>
            <pc:docMk/>
            <pc:sldMk cId="1388671151" sldId="289"/>
            <ac:picMk id="7" creationId="{335456B6-16C7-D20D-6172-8C0804AFF021}"/>
          </ac:picMkLst>
        </pc:picChg>
      </pc:sldChg>
      <pc:sldChg chg="addSp delSp modSp mod">
        <pc:chgData name="Roberto Gallardo" userId="49a044883f185952" providerId="LiveId" clId="{7918199F-63D7-49FC-807D-6BA08D5C5066}" dt="2023-03-06T23:59:53.904" v="267" actId="1076"/>
        <pc:sldMkLst>
          <pc:docMk/>
          <pc:sldMk cId="2355376039" sldId="290"/>
        </pc:sldMkLst>
        <pc:graphicFrameChg chg="add mod">
          <ac:chgData name="Roberto Gallardo" userId="49a044883f185952" providerId="LiveId" clId="{7918199F-63D7-49FC-807D-6BA08D5C5066}" dt="2023-03-06T23:52:30.757" v="75"/>
          <ac:graphicFrameMkLst>
            <pc:docMk/>
            <pc:sldMk cId="2355376039" sldId="290"/>
            <ac:graphicFrameMk id="6" creationId="{68E83C06-7996-371B-D5F8-41D8E24F3EDE}"/>
          </ac:graphicFrameMkLst>
        </pc:graphicFrameChg>
        <pc:picChg chg="del">
          <ac:chgData name="Roberto Gallardo" userId="49a044883f185952" providerId="LiveId" clId="{7918199F-63D7-49FC-807D-6BA08D5C5066}" dt="2023-03-06T23:52:30.368" v="74" actId="478"/>
          <ac:picMkLst>
            <pc:docMk/>
            <pc:sldMk cId="2355376039" sldId="290"/>
            <ac:picMk id="5" creationId="{B104B947-D2CE-BA72-E72B-14E6C446E0A2}"/>
          </ac:picMkLst>
        </pc:picChg>
        <pc:picChg chg="add mod">
          <ac:chgData name="Roberto Gallardo" userId="49a044883f185952" providerId="LiveId" clId="{7918199F-63D7-49FC-807D-6BA08D5C5066}" dt="2023-03-06T23:59:53.904" v="267" actId="1076"/>
          <ac:picMkLst>
            <pc:docMk/>
            <pc:sldMk cId="2355376039" sldId="290"/>
            <ac:picMk id="10" creationId="{A4F03E71-08A9-1181-EB43-7A446D22743D}"/>
          </ac:picMkLst>
        </pc:picChg>
      </pc:sldChg>
      <pc:sldChg chg="addSp delSp modSp mod">
        <pc:chgData name="Roberto Gallardo" userId="49a044883f185952" providerId="LiveId" clId="{7918199F-63D7-49FC-807D-6BA08D5C5066}" dt="2023-03-07T00:00:13.647" v="277" actId="1076"/>
        <pc:sldMkLst>
          <pc:docMk/>
          <pc:sldMk cId="3757257295" sldId="291"/>
        </pc:sldMkLst>
        <pc:graphicFrameChg chg="add mod">
          <ac:chgData name="Roberto Gallardo" userId="49a044883f185952" providerId="LiveId" clId="{7918199F-63D7-49FC-807D-6BA08D5C5066}" dt="2023-03-06T23:52:37.942" v="77"/>
          <ac:graphicFrameMkLst>
            <pc:docMk/>
            <pc:sldMk cId="3757257295" sldId="291"/>
            <ac:graphicFrameMk id="6" creationId="{6640A546-DCC8-19EF-5CE3-2CC49786B82C}"/>
          </ac:graphicFrameMkLst>
        </pc:graphicFrameChg>
        <pc:picChg chg="del">
          <ac:chgData name="Roberto Gallardo" userId="49a044883f185952" providerId="LiveId" clId="{7918199F-63D7-49FC-807D-6BA08D5C5066}" dt="2023-03-06T23:52:37.619" v="76" actId="478"/>
          <ac:picMkLst>
            <pc:docMk/>
            <pc:sldMk cId="3757257295" sldId="291"/>
            <ac:picMk id="7" creationId="{F01CA9CE-0915-5592-D635-FB868377CA8A}"/>
          </ac:picMkLst>
        </pc:picChg>
        <pc:picChg chg="add mod">
          <ac:chgData name="Roberto Gallardo" userId="49a044883f185952" providerId="LiveId" clId="{7918199F-63D7-49FC-807D-6BA08D5C5066}" dt="2023-03-07T00:00:13.647" v="277" actId="1076"/>
          <ac:picMkLst>
            <pc:docMk/>
            <pc:sldMk cId="3757257295" sldId="291"/>
            <ac:picMk id="10" creationId="{ECE93788-E606-9FF4-6ED7-2A1546C706EC}"/>
          </ac:picMkLst>
        </pc:picChg>
      </pc:sldChg>
      <pc:sldChg chg="addSp modSp mod">
        <pc:chgData name="Roberto Gallardo" userId="49a044883f185952" providerId="LiveId" clId="{7918199F-63D7-49FC-807D-6BA08D5C5066}" dt="2023-03-06T23:58:37.435" v="221" actId="1076"/>
        <pc:sldMkLst>
          <pc:docMk/>
          <pc:sldMk cId="1259856727" sldId="292"/>
        </pc:sldMkLst>
        <pc:picChg chg="add mod">
          <ac:chgData name="Roberto Gallardo" userId="49a044883f185952" providerId="LiveId" clId="{7918199F-63D7-49FC-807D-6BA08D5C5066}" dt="2023-03-06T23:58:37.435" v="221" actId="1076"/>
          <ac:picMkLst>
            <pc:docMk/>
            <pc:sldMk cId="1259856727" sldId="292"/>
            <ac:picMk id="7" creationId="{C82A6FFF-8204-F325-ADCA-BFB7FEF1D03D}"/>
          </ac:picMkLst>
        </pc:picChg>
      </pc:sldChg>
      <pc:sldChg chg="addSp modSp mod">
        <pc:chgData name="Roberto Gallardo" userId="49a044883f185952" providerId="LiveId" clId="{7918199F-63D7-49FC-807D-6BA08D5C5066}" dt="2023-03-06T23:55:45.196" v="132" actId="1076"/>
        <pc:sldMkLst>
          <pc:docMk/>
          <pc:sldMk cId="3324519687" sldId="293"/>
        </pc:sldMkLst>
        <pc:picChg chg="add mod">
          <ac:chgData name="Roberto Gallardo" userId="49a044883f185952" providerId="LiveId" clId="{7918199F-63D7-49FC-807D-6BA08D5C5066}" dt="2023-03-06T23:55:45.196" v="132" actId="1076"/>
          <ac:picMkLst>
            <pc:docMk/>
            <pc:sldMk cId="3324519687" sldId="293"/>
            <ac:picMk id="7" creationId="{66F925D1-F52C-C9E7-D631-35C66A4ED399}"/>
          </ac:picMkLst>
        </pc:picChg>
      </pc:sldChg>
      <pc:sldChg chg="addSp modSp mod">
        <pc:chgData name="Roberto Gallardo" userId="49a044883f185952" providerId="LiveId" clId="{7918199F-63D7-49FC-807D-6BA08D5C5066}" dt="2023-03-06T23:54:53.451" v="111" actId="1076"/>
        <pc:sldMkLst>
          <pc:docMk/>
          <pc:sldMk cId="3256182630" sldId="295"/>
        </pc:sldMkLst>
        <pc:picChg chg="add mod">
          <ac:chgData name="Roberto Gallardo" userId="49a044883f185952" providerId="LiveId" clId="{7918199F-63D7-49FC-807D-6BA08D5C5066}" dt="2023-03-06T23:54:53.451" v="111" actId="1076"/>
          <ac:picMkLst>
            <pc:docMk/>
            <pc:sldMk cId="3256182630" sldId="295"/>
            <ac:picMk id="7" creationId="{87ADD0A0-27E2-F359-E026-B3B81D0E5F47}"/>
          </ac:picMkLst>
        </pc:picChg>
      </pc:sldChg>
      <pc:sldChg chg="addSp modSp mod">
        <pc:chgData name="Roberto Gallardo" userId="49a044883f185952" providerId="LiveId" clId="{7918199F-63D7-49FC-807D-6BA08D5C5066}" dt="2023-03-06T23:55:29.740" v="123" actId="1076"/>
        <pc:sldMkLst>
          <pc:docMk/>
          <pc:sldMk cId="4057156843" sldId="296"/>
        </pc:sldMkLst>
        <pc:picChg chg="add mod">
          <ac:chgData name="Roberto Gallardo" userId="49a044883f185952" providerId="LiveId" clId="{7918199F-63D7-49FC-807D-6BA08D5C5066}" dt="2023-03-06T23:55:29.740" v="123" actId="1076"/>
          <ac:picMkLst>
            <pc:docMk/>
            <pc:sldMk cId="4057156843" sldId="296"/>
            <ac:picMk id="7" creationId="{A6AB579E-6736-6336-28C2-115850AFF98A}"/>
          </ac:picMkLst>
        </pc:picChg>
      </pc:sldChg>
      <pc:sldChg chg="addSp modSp mod">
        <pc:chgData name="Roberto Gallardo" userId="49a044883f185952" providerId="LiveId" clId="{7918199F-63D7-49FC-807D-6BA08D5C5066}" dt="2023-03-06T23:54:34.959" v="104" actId="1076"/>
        <pc:sldMkLst>
          <pc:docMk/>
          <pc:sldMk cId="2080110827" sldId="297"/>
        </pc:sldMkLst>
        <pc:picChg chg="add mod">
          <ac:chgData name="Roberto Gallardo" userId="49a044883f185952" providerId="LiveId" clId="{7918199F-63D7-49FC-807D-6BA08D5C5066}" dt="2023-03-06T23:54:34.959" v="104" actId="1076"/>
          <ac:picMkLst>
            <pc:docMk/>
            <pc:sldMk cId="2080110827" sldId="297"/>
            <ac:picMk id="6" creationId="{8D38CD08-7634-53C1-3338-89E3157DC056}"/>
          </ac:picMkLst>
        </pc:picChg>
      </pc:sldChg>
      <pc:sldChg chg="addSp modSp mod">
        <pc:chgData name="Roberto Gallardo" userId="49a044883f185952" providerId="LiveId" clId="{7918199F-63D7-49FC-807D-6BA08D5C5066}" dt="2023-03-06T23:54:18.567" v="96" actId="1076"/>
        <pc:sldMkLst>
          <pc:docMk/>
          <pc:sldMk cId="1532666867" sldId="298"/>
        </pc:sldMkLst>
        <pc:picChg chg="add mod">
          <ac:chgData name="Roberto Gallardo" userId="49a044883f185952" providerId="LiveId" clId="{7918199F-63D7-49FC-807D-6BA08D5C5066}" dt="2023-03-06T23:54:18.567" v="96" actId="1076"/>
          <ac:picMkLst>
            <pc:docMk/>
            <pc:sldMk cId="1532666867" sldId="298"/>
            <ac:picMk id="6" creationId="{279AB963-9395-3650-5E60-2CC8511AC9EB}"/>
          </ac:picMkLst>
        </pc:picChg>
      </pc:sldChg>
      <pc:sldChg chg="addSp modSp mod">
        <pc:chgData name="Roberto Gallardo" userId="49a044883f185952" providerId="LiveId" clId="{7918199F-63D7-49FC-807D-6BA08D5C5066}" dt="2023-03-06T23:59:30.908" v="254" actId="1076"/>
        <pc:sldMkLst>
          <pc:docMk/>
          <pc:sldMk cId="1951376777" sldId="299"/>
        </pc:sldMkLst>
        <pc:picChg chg="add mod">
          <ac:chgData name="Roberto Gallardo" userId="49a044883f185952" providerId="LiveId" clId="{7918199F-63D7-49FC-807D-6BA08D5C5066}" dt="2023-03-06T23:59:30.908" v="254" actId="1076"/>
          <ac:picMkLst>
            <pc:docMk/>
            <pc:sldMk cId="1951376777" sldId="299"/>
            <ac:picMk id="7" creationId="{0D945CA5-316A-1A60-9FBB-C9EC6BF5C1ED}"/>
          </ac:picMkLst>
        </pc:picChg>
      </pc:sldChg>
      <pc:sldChg chg="modSp mod">
        <pc:chgData name="Roberto Gallardo" userId="49a044883f185952" providerId="LiveId" clId="{7918199F-63D7-49FC-807D-6BA08D5C5066}" dt="2023-02-25T13:26:00.839" v="71" actId="20577"/>
        <pc:sldMkLst>
          <pc:docMk/>
          <pc:sldMk cId="1515423683" sldId="302"/>
        </pc:sldMkLst>
        <pc:spChg chg="mod">
          <ac:chgData name="Roberto Gallardo" userId="49a044883f185952" providerId="LiveId" clId="{7918199F-63D7-49FC-807D-6BA08D5C5066}" dt="2023-02-25T13:26:00.839" v="71" actId="20577"/>
          <ac:spMkLst>
            <pc:docMk/>
            <pc:sldMk cId="1515423683" sldId="302"/>
            <ac:spMk id="5" creationId="{6AE302AC-8931-4144-BE52-DD1A8BA82462}"/>
          </ac:spMkLst>
        </pc:spChg>
        <pc:spChg chg="mod">
          <ac:chgData name="Roberto Gallardo" userId="49a044883f185952" providerId="LiveId" clId="{7918199F-63D7-49FC-807D-6BA08D5C5066}" dt="2023-02-25T13:25:58.152" v="70" actId="20577"/>
          <ac:spMkLst>
            <pc:docMk/>
            <pc:sldMk cId="1515423683" sldId="302"/>
            <ac:spMk id="9" creationId="{E362A98F-7DCD-C67C-23CE-1BE182A133B4}"/>
          </ac:spMkLst>
        </pc:spChg>
      </pc:sldChg>
      <pc:sldChg chg="del">
        <pc:chgData name="Roberto Gallardo" userId="49a044883f185952" providerId="LiveId" clId="{7918199F-63D7-49FC-807D-6BA08D5C5066}" dt="2023-02-25T15:00:21.731" v="73" actId="47"/>
        <pc:sldMkLst>
          <pc:docMk/>
          <pc:sldMk cId="2841628872" sldId="303"/>
        </pc:sldMkLst>
      </pc:sldChg>
      <pc:sldChg chg="del">
        <pc:chgData name="Roberto Gallardo" userId="49a044883f185952" providerId="LiveId" clId="{7918199F-63D7-49FC-807D-6BA08D5C5066}" dt="2023-02-25T15:00:21.731" v="73" actId="47"/>
        <pc:sldMkLst>
          <pc:docMk/>
          <pc:sldMk cId="3084076302" sldId="304"/>
        </pc:sldMkLst>
      </pc:sldChg>
      <pc:sldChg chg="del">
        <pc:chgData name="Roberto Gallardo" userId="49a044883f185952" providerId="LiveId" clId="{7918199F-63D7-49FC-807D-6BA08D5C5066}" dt="2023-02-25T15:00:21.731" v="73" actId="47"/>
        <pc:sldMkLst>
          <pc:docMk/>
          <pc:sldMk cId="473712435" sldId="305"/>
        </pc:sldMkLst>
      </pc:sldChg>
      <pc:sldChg chg="modSp mod">
        <pc:chgData name="Roberto Gallardo" userId="49a044883f185952" providerId="LiveId" clId="{7918199F-63D7-49FC-807D-6BA08D5C5066}" dt="2023-02-25T12:34:48.475" v="68" actId="20577"/>
        <pc:sldMkLst>
          <pc:docMk/>
          <pc:sldMk cId="2366022307" sldId="306"/>
        </pc:sldMkLst>
        <pc:spChg chg="mod">
          <ac:chgData name="Roberto Gallardo" userId="49a044883f185952" providerId="LiveId" clId="{7918199F-63D7-49FC-807D-6BA08D5C5066}" dt="2023-02-25T12:34:48.475" v="68" actId="20577"/>
          <ac:spMkLst>
            <pc:docMk/>
            <pc:sldMk cId="2366022307" sldId="306"/>
            <ac:spMk id="11" creationId="{09F5AE19-B4E3-7788-F25F-CDA80D596DAF}"/>
          </ac:spMkLst>
        </pc:spChg>
        <pc:grpChg chg="mod">
          <ac:chgData name="Roberto Gallardo" userId="49a044883f185952" providerId="LiveId" clId="{7918199F-63D7-49FC-807D-6BA08D5C5066}" dt="2023-02-25T12:34:09.760" v="15" actId="1036"/>
          <ac:grpSpMkLst>
            <pc:docMk/>
            <pc:sldMk cId="2366022307" sldId="306"/>
            <ac:grpSpMk id="6" creationId="{4BC0EAD3-A621-359E-F822-1BC272A15D80}"/>
          </ac:grpSpMkLst>
        </pc:grpChg>
        <pc:cxnChg chg="mod">
          <ac:chgData name="Roberto Gallardo" userId="49a044883f185952" providerId="LiveId" clId="{7918199F-63D7-49FC-807D-6BA08D5C5066}" dt="2023-02-25T12:34:22.180" v="41" actId="1035"/>
          <ac:cxnSpMkLst>
            <pc:docMk/>
            <pc:sldMk cId="2366022307" sldId="306"/>
            <ac:cxnSpMk id="27" creationId="{F0CF8142-8895-D0A8-A662-E40568742508}"/>
          </ac:cxnSpMkLst>
        </pc:cxnChg>
        <pc:cxnChg chg="mod">
          <ac:chgData name="Roberto Gallardo" userId="49a044883f185952" providerId="LiveId" clId="{7918199F-63D7-49FC-807D-6BA08D5C5066}" dt="2023-02-25T12:34:35.726" v="61" actId="14100"/>
          <ac:cxnSpMkLst>
            <pc:docMk/>
            <pc:sldMk cId="2366022307" sldId="306"/>
            <ac:cxnSpMk id="28" creationId="{15C28C80-F0E1-159F-F103-CEA53436F6F9}"/>
          </ac:cxnSpMkLst>
        </pc:cxnChg>
        <pc:cxnChg chg="mod">
          <ac:chgData name="Roberto Gallardo" userId="49a044883f185952" providerId="LiveId" clId="{7918199F-63D7-49FC-807D-6BA08D5C5066}" dt="2023-02-25T12:34:39.901" v="62" actId="14100"/>
          <ac:cxnSpMkLst>
            <pc:docMk/>
            <pc:sldMk cId="2366022307" sldId="306"/>
            <ac:cxnSpMk id="29" creationId="{783CFD35-8D28-EF95-B783-8C1E52BEC855}"/>
          </ac:cxnSpMkLst>
        </pc:cxnChg>
      </pc:sldChg>
      <pc:sldChg chg="add">
        <pc:chgData name="Roberto Gallardo" userId="49a044883f185952" providerId="LiveId" clId="{7918199F-63D7-49FC-807D-6BA08D5C5066}" dt="2023-02-25T15:00:19.172" v="72"/>
        <pc:sldMkLst>
          <pc:docMk/>
          <pc:sldMk cId="1803379643" sldId="307"/>
        </pc:sldMkLst>
      </pc:sldChg>
      <pc:sldChg chg="add">
        <pc:chgData name="Roberto Gallardo" userId="49a044883f185952" providerId="LiveId" clId="{7918199F-63D7-49FC-807D-6BA08D5C5066}" dt="2023-02-25T15:00:19.172" v="72"/>
        <pc:sldMkLst>
          <pc:docMk/>
          <pc:sldMk cId="506046643" sldId="308"/>
        </pc:sldMkLst>
      </pc:sldChg>
      <pc:sldChg chg="add">
        <pc:chgData name="Roberto Gallardo" userId="49a044883f185952" providerId="LiveId" clId="{7918199F-63D7-49FC-807D-6BA08D5C5066}" dt="2023-02-25T15:00:19.172" v="72"/>
        <pc:sldMkLst>
          <pc:docMk/>
          <pc:sldMk cId="4285503323" sldId="309"/>
        </pc:sldMkLst>
      </pc:sldChg>
      <pc:sldChg chg="add">
        <pc:chgData name="Roberto Gallardo" userId="49a044883f185952" providerId="LiveId" clId="{7918199F-63D7-49FC-807D-6BA08D5C5066}" dt="2023-02-25T15:00:19.172" v="72"/>
        <pc:sldMkLst>
          <pc:docMk/>
          <pc:sldMk cId="503798873"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31763"/>
          </a:xfrm>
          <a:prstGeom prst="rect">
            <a:avLst/>
          </a:prstGeom>
          <a:noFill/>
        </p:spPr>
        <p:txBody>
          <a:bodyPr wrap="square" rtlCol="0">
            <a:spAutoFit/>
          </a:bodyPr>
          <a:lstStyle/>
          <a:p>
            <a:r>
              <a:rPr lang="en-US" sz="4000" dirty="0">
                <a:solidFill>
                  <a:schemeClr val="bg1"/>
                </a:solidFill>
              </a:rPr>
              <a:t>Pamlico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157BB45C-9B2C-465F-A70E-A89871AA355A}"/>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42855033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354F55D0-90FD-0D07-40CE-79A4242F7F8D}"/>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5037988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Diagram, schematic, map&#10;&#10;Description automatically generated">
            <a:extLst>
              <a:ext uri="{FF2B5EF4-FFF2-40B4-BE49-F238E27FC236}">
                <a16:creationId xmlns:a16="http://schemas.microsoft.com/office/drawing/2014/main" id="{7D193CE0-B085-90B0-5CC2-67ACE33CE1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 map&#10;&#10;Description automatically generated">
            <a:extLst>
              <a:ext uri="{FF2B5EF4-FFF2-40B4-BE49-F238E27FC236}">
                <a16:creationId xmlns:a16="http://schemas.microsoft.com/office/drawing/2014/main" id="{279AB963-9395-3650-5E60-2CC8511AC9E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4554"/>
            <a:ext cx="7602619"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 map&#10;&#10;Description automatically generated">
            <a:extLst>
              <a:ext uri="{FF2B5EF4-FFF2-40B4-BE49-F238E27FC236}">
                <a16:creationId xmlns:a16="http://schemas.microsoft.com/office/drawing/2014/main" id="{8D38CD08-7634-53C1-3338-89E3157DC0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4554"/>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19070D95-13CD-3404-EBC0-26F91A0FC5D4}"/>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Diagram, map&#10;&#10;Description automatically generated">
            <a:extLst>
              <a:ext uri="{FF2B5EF4-FFF2-40B4-BE49-F238E27FC236}">
                <a16:creationId xmlns:a16="http://schemas.microsoft.com/office/drawing/2014/main" id="{87ADD0A0-27E2-F359-E026-B3B81D0E5F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8857" y="1428093"/>
            <a:ext cx="6363918" cy="4500290"/>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3EB31F07-9455-6239-8012-96EE1517C2F1}"/>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Diagram, map&#10;&#10;Description automatically generated">
            <a:extLst>
              <a:ext uri="{FF2B5EF4-FFF2-40B4-BE49-F238E27FC236}">
                <a16:creationId xmlns:a16="http://schemas.microsoft.com/office/drawing/2014/main" id="{A6AB579E-6736-6336-28C2-115850AFF98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87824" y="1429676"/>
            <a:ext cx="6354951" cy="4493948"/>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0BD47700-0957-03A4-D857-94E57AEA548F}"/>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Diagram, map&#10;&#10;Description automatically generated">
            <a:extLst>
              <a:ext uri="{FF2B5EF4-FFF2-40B4-BE49-F238E27FC236}">
                <a16:creationId xmlns:a16="http://schemas.microsoft.com/office/drawing/2014/main" id="{66F925D1-F52C-C9E7-D631-35C66A4ED3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6740"/>
            <a:ext cx="6362700" cy="4499429"/>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D0C2D477-A8DF-3121-3876-2A23C704D358}"/>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Diagram, schematic&#10;&#10;Description automatically generated">
            <a:extLst>
              <a:ext uri="{FF2B5EF4-FFF2-40B4-BE49-F238E27FC236}">
                <a16:creationId xmlns:a16="http://schemas.microsoft.com/office/drawing/2014/main" id="{28FD97BD-EAFD-F3B2-6BA1-21858EC9B5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3725" y="1425019"/>
            <a:ext cx="6365875" cy="4501674"/>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F1B08E0D-FA3C-6A75-BE0F-AD2B663CB25E}"/>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10;&#10;Description automatically generated">
            <a:extLst>
              <a:ext uri="{FF2B5EF4-FFF2-40B4-BE49-F238E27FC236}">
                <a16:creationId xmlns:a16="http://schemas.microsoft.com/office/drawing/2014/main" id="{D1CB096F-8395-E75A-AD91-3D18E60019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81662" y="1426935"/>
            <a:ext cx="6362700" cy="4499429"/>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a:t>
            </a:r>
            <a:r>
              <a:rPr lang="en-US" sz="1400"/>
              <a:t>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ECB630C9-F5E2-3433-6B5A-C088053B1696}"/>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10;&#10;Description automatically generated">
            <a:extLst>
              <a:ext uri="{FF2B5EF4-FFF2-40B4-BE49-F238E27FC236}">
                <a16:creationId xmlns:a16="http://schemas.microsoft.com/office/drawing/2014/main" id="{CF651479-48A2-A941-FC34-42B8FFAF7F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66819" y="1411538"/>
            <a:ext cx="6372781" cy="4506558"/>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B61B1FF9-D263-BA2A-1781-6956F56CB8EB}"/>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10;&#10;Description automatically generated">
            <a:extLst>
              <a:ext uri="{FF2B5EF4-FFF2-40B4-BE49-F238E27FC236}">
                <a16:creationId xmlns:a16="http://schemas.microsoft.com/office/drawing/2014/main" id="{0F95997A-9509-3EBA-93E9-9A9059D5BE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9388"/>
            <a:ext cx="6362701" cy="4499430"/>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A266A250-3218-1B89-BEE5-DEF0B11FA4AC}"/>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10;&#10;Description automatically generated">
            <a:extLst>
              <a:ext uri="{FF2B5EF4-FFF2-40B4-BE49-F238E27FC236}">
                <a16:creationId xmlns:a16="http://schemas.microsoft.com/office/drawing/2014/main" id="{1236936E-4F04-962E-0970-8D70EEF3E0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1083"/>
            <a:ext cx="6365782" cy="4501608"/>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0E31E71E-2653-3640-E90E-E007DBCDCB3F}"/>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60AD77E6-29F6-847F-85BD-39DE1DEB46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1" y="1409338"/>
            <a:ext cx="6362700" cy="4499428"/>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B10D3439-345C-583A-CFEE-9889B772CD90}"/>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0B85CA26-731A-E952-D06D-397804CA82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0859"/>
            <a:ext cx="6362700" cy="4499428"/>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979A16A7-6ADC-4639-5DDF-C9661AFC03DC}"/>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C82A6FFF-8204-F325-ADCA-BFB7FEF1D03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8218" y="1420709"/>
            <a:ext cx="6361382" cy="4498497"/>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F839D866-F22C-0CED-5BA0-EF2549522921}"/>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 map&#10;&#10;Description automatically generated">
            <a:extLst>
              <a:ext uri="{FF2B5EF4-FFF2-40B4-BE49-F238E27FC236}">
                <a16:creationId xmlns:a16="http://schemas.microsoft.com/office/drawing/2014/main" id="{8FC5CA58-4C4A-94A8-1CA4-479C8A20CD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4873"/>
            <a:ext cx="6362700" cy="4499429"/>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A2095E6A-4038-80B3-28C0-C162AD05B646}"/>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10;&#10;Description automatically generated">
            <a:extLst>
              <a:ext uri="{FF2B5EF4-FFF2-40B4-BE49-F238E27FC236}">
                <a16:creationId xmlns:a16="http://schemas.microsoft.com/office/drawing/2014/main" id="{335456B6-16C7-D20D-6172-8C0804AFF0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5878"/>
            <a:ext cx="6362700" cy="4499429"/>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DB40DFF1-E4D9-59AA-32E8-E757D2BEFCA7}"/>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Diagram, schematic&#10;&#10;Description automatically generated">
            <a:extLst>
              <a:ext uri="{FF2B5EF4-FFF2-40B4-BE49-F238E27FC236}">
                <a16:creationId xmlns:a16="http://schemas.microsoft.com/office/drawing/2014/main" id="{0D945CA5-316A-1A60-9FBB-C9EC6BF5C1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6935"/>
            <a:ext cx="6362701" cy="4499430"/>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a:extLst>
              <a:ext uri="{FF2B5EF4-FFF2-40B4-BE49-F238E27FC236}">
                <a16:creationId xmlns:a16="http://schemas.microsoft.com/office/drawing/2014/main" id="{19A027EE-04B4-68DF-0D13-FE80B9908C4C}"/>
              </a:ext>
            </a:extLst>
          </p:cNvPr>
          <p:cNvPicPr preferRelativeResize="0"/>
          <p:nvPr/>
        </p:nvPicPr>
        <p:blipFill>
          <a:blip r:embed="rId2"/>
          <a:stretch>
            <a:fillRect/>
          </a:stretch>
        </p:blipFill>
        <p:spPr>
          <a:xfrm>
            <a:off x="152400" y="1749828"/>
            <a:ext cx="5390460" cy="3861010"/>
          </a:xfrm>
          <a:prstGeom prst="rect">
            <a:avLst/>
          </a:prstGeom>
        </p:spPr>
      </p:pic>
      <p:pic>
        <p:nvPicPr>
          <p:cNvPr id="10" name="Picture 9" descr="Diagram, schematic&#10;&#10;Description automatically generated">
            <a:extLst>
              <a:ext uri="{FF2B5EF4-FFF2-40B4-BE49-F238E27FC236}">
                <a16:creationId xmlns:a16="http://schemas.microsoft.com/office/drawing/2014/main" id="{A4F03E71-08A9-1181-EB43-7A446D22743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18466"/>
            <a:ext cx="6362701" cy="4499430"/>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B111CDE5-97AC-118E-2970-B0BAB82AE21E}"/>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a:extLst>
              <a:ext uri="{FF2B5EF4-FFF2-40B4-BE49-F238E27FC236}">
                <a16:creationId xmlns:a16="http://schemas.microsoft.com/office/drawing/2014/main" id="{6F71D5F5-D6A5-96A4-37F5-7003F7954AAF}"/>
              </a:ext>
            </a:extLst>
          </p:cNvPr>
          <p:cNvPicPr preferRelativeResize="0"/>
          <p:nvPr/>
        </p:nvPicPr>
        <p:blipFill>
          <a:blip r:embed="rId2"/>
          <a:stretch>
            <a:fillRect/>
          </a:stretch>
        </p:blipFill>
        <p:spPr>
          <a:xfrm>
            <a:off x="152399" y="1762247"/>
            <a:ext cx="5332371" cy="3819403"/>
          </a:xfrm>
          <a:prstGeom prst="rect">
            <a:avLst/>
          </a:prstGeom>
        </p:spPr>
      </p:pic>
      <p:pic>
        <p:nvPicPr>
          <p:cNvPr id="10" name="Picture 9" descr="Diagram, schematic&#10;&#10;Description automatically generated">
            <a:extLst>
              <a:ext uri="{FF2B5EF4-FFF2-40B4-BE49-F238E27FC236}">
                <a16:creationId xmlns:a16="http://schemas.microsoft.com/office/drawing/2014/main" id="{ECE93788-E606-9FF4-6ED7-2A1546C706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2233"/>
            <a:ext cx="6362701" cy="4499430"/>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476AAFDD-271D-F07B-C206-F384AE6F26AE}"/>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D739EB99-60D9-9420-4261-D3682144E769}"/>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CC9C6C1-D729-39FF-929F-1572A71B936A}"/>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83452" y="2423168"/>
            <a:ext cx="1198148" cy="2319288"/>
            <a:chOff x="10485745" y="2562312"/>
            <a:chExt cx="1198148" cy="2319288"/>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25555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3.2</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56231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562312"/>
              <a:ext cx="0" cy="6932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148111"/>
              <a:ext cx="0" cy="73348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67072" y="2610314"/>
            <a:ext cx="1198148" cy="2133852"/>
            <a:chOff x="2775759" y="2358158"/>
            <a:chExt cx="1198148" cy="2133852"/>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304672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4</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17996" y="23581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367683"/>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p:cNvCxnSpPr>
            <p:nvPr/>
          </p:nvCxnSpPr>
          <p:spPr>
            <a:xfrm>
              <a:off x="3374833" y="3967671"/>
              <a:ext cx="0" cy="52433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FDB6ACAD-3E51-FD14-DD3E-C92F579150DD}"/>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AA190113-C192-8DE7-BA72-708E23B8510A}"/>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78FFF935-D651-42AB-5A83-AA309BDB0563}"/>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D3A54E1D-0B89-A2E3-267A-FD16FBD3CBF8}"/>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E084F1AC-C458-F170-B005-2308B85C12E4}"/>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B3721462-C33A-574F-2592-0F50CD3128AB}"/>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F966156D-ABA0-8149-49DB-2AAA3E3A219C}"/>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18033796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53087FE0-05F9-B91F-5357-2A21880BDB40}"/>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5060466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01</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89</cp:revision>
  <dcterms:created xsi:type="dcterms:W3CDTF">2022-07-04T13:32:28Z</dcterms:created>
  <dcterms:modified xsi:type="dcterms:W3CDTF">2023-03-07T00:00:20Z</dcterms:modified>
</cp:coreProperties>
</file>